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721377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937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hyperlink" Target="https://www.youtube.com/watch?v=bj8Jmz_srDg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hlinkClick r:id="rId2"/>
            <a:extLst>
              <a:ext uri="{FF2B5EF4-FFF2-40B4-BE49-F238E27FC236}">
                <a16:creationId xmlns:a16="http://schemas.microsoft.com/office/drawing/2014/main" id="{0BAAFF9F-CA01-45DA-8A94-F29593719E0A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75" r="16175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 July 2021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Mads Mikkelsen, Thomas Bo Larsen, Magnus </a:t>
            </a:r>
            <a:r>
              <a:rPr lang="en-US" dirty="0" err="1">
                <a:solidFill>
                  <a:schemeClr val="accent6"/>
                </a:solidFill>
              </a:rPr>
              <a:t>Millang</a:t>
            </a: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Thomas </a:t>
            </a:r>
            <a:r>
              <a:rPr lang="en-US" dirty="0" err="1">
                <a:solidFill>
                  <a:schemeClr val="accent6"/>
                </a:solidFill>
              </a:rPr>
              <a:t>Vinterberg</a:t>
            </a:r>
            <a:r>
              <a:rPr lang="en-US" dirty="0">
                <a:solidFill>
                  <a:schemeClr val="accent6"/>
                </a:solidFill>
              </a:rPr>
              <a:t> (</a:t>
            </a:r>
            <a:r>
              <a:rPr lang="en-US" i="1" dirty="0">
                <a:solidFill>
                  <a:schemeClr val="accent6"/>
                </a:solidFill>
              </a:rPr>
              <a:t>Far From the Madding Crowd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The Hunt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This drama has already acclaimed critical and audience praise from a variety of festivals, and has been nominated for Best International Film and Best Director at the upcoming Oscars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ABC1 Men Index: 170 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1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r>
              <a:rPr lang="en-GB" b="0" dirty="0"/>
              <a:t>Four former high-school teachers test a theory that they will improve their lives by maintaining a constant level of alcohol in their blood.</a:t>
            </a:r>
            <a:br>
              <a:rPr lang="en-GB" dirty="0"/>
            </a:b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Another Round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US" sz="1400" dirty="0">
                <a:solidFill>
                  <a:schemeClr val="accent6"/>
                </a:solidFill>
              </a:rPr>
              <a:t>A woozy, Award-winning European drama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5265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4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Another Round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3 2021</dc:title>
  <dc:creator/>
  <dc:description>Another Round</dc:description>
  <cp:lastModifiedBy/>
  <cp:revision>1</cp:revision>
  <dcterms:created xsi:type="dcterms:W3CDTF">2019-03-25T11:13:20Z</dcterms:created>
  <dcterms:modified xsi:type="dcterms:W3CDTF">2021-07-07T10:43:50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3 2021</vt:lpwstr>
  </property>
  <property fmtid="{D5CDD505-2E9C-101B-9397-08002B2CF9AE}" pid="4" name="SlideDescription">
    <vt:lpwstr>Another Round</vt:lpwstr>
  </property>
</Properties>
</file>